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4"/>
  </p:notesMasterIdLst>
  <p:sldIdLst>
    <p:sldId id="2147480018" r:id="rId2"/>
    <p:sldId id="2147480029" r:id="rId3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D54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92" autoAdjust="0"/>
    <p:restoredTop sz="94660"/>
  </p:normalViewPr>
  <p:slideViewPr>
    <p:cSldViewPr snapToGrid="0">
      <p:cViewPr>
        <p:scale>
          <a:sx n="66" d="100"/>
          <a:sy n="66" d="100"/>
        </p:scale>
        <p:origin x="67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4C9764-1E84-4CDB-988C-0EAA32EE1D52}" type="datetimeFigureOut">
              <a:rPr lang="es-CL" smtClean="0"/>
              <a:t>22-04-2026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1E156D-0FB1-4FFD-B310-81074E896F6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57045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2AFED-4D24-D095-CE51-67C3619E1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6906FF5-5F4B-B19F-1BE4-7AC1128199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6E4219D-E012-D155-CBDC-8383BDEB99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E102994-6354-AD0B-732A-1518BABC45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0D8B6B-3DEB-3E46-AC6C-D8E04D3D030E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79505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2AFED-4D24-D095-CE51-67C3619E1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6906FF5-5F4B-B19F-1BE4-7AC1128199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6E4219D-E012-D155-CBDC-8383BDEB99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E102994-6354-AD0B-732A-1518BABC45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0D8B6B-3DEB-3E46-AC6C-D8E04D3D030E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4228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9157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8" name="Subtítulo 2"/>
          <p:cNvSpPr>
            <a:spLocks noGrp="1"/>
          </p:cNvSpPr>
          <p:nvPr>
            <p:ph type="subTitle" idx="12"/>
          </p:nvPr>
        </p:nvSpPr>
        <p:spPr>
          <a:xfrm>
            <a:off x="643468" y="974893"/>
            <a:ext cx="8534400" cy="402353"/>
          </a:xfr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sz="1867">
                <a:solidFill>
                  <a:srgbClr val="66666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1" name="Marcador de texto 3"/>
          <p:cNvSpPr>
            <a:spLocks noGrp="1"/>
          </p:cNvSpPr>
          <p:nvPr>
            <p:ph type="body" sz="half" idx="2"/>
          </p:nvPr>
        </p:nvSpPr>
        <p:spPr>
          <a:xfrm>
            <a:off x="6843893" y="4524793"/>
            <a:ext cx="4413959" cy="50632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6" name="Marcador de texto 3"/>
          <p:cNvSpPr>
            <a:spLocks noGrp="1"/>
          </p:cNvSpPr>
          <p:nvPr>
            <p:ph type="body" sz="half" idx="13"/>
          </p:nvPr>
        </p:nvSpPr>
        <p:spPr>
          <a:xfrm>
            <a:off x="6862421" y="4805339"/>
            <a:ext cx="4682705" cy="540024"/>
          </a:xfrm>
        </p:spPr>
        <p:txBody>
          <a:bodyPr>
            <a:normAutofit/>
          </a:bodyPr>
          <a:lstStyle>
            <a:lvl1pPr marL="0" indent="0">
              <a:buNone/>
              <a:defRPr sz="14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cxnSp>
        <p:nvCxnSpPr>
          <p:cNvPr id="39" name="Conector recto 38"/>
          <p:cNvCxnSpPr/>
          <p:nvPr userDrawn="1"/>
        </p:nvCxnSpPr>
        <p:spPr>
          <a:xfrm>
            <a:off x="6169373" y="2237406"/>
            <a:ext cx="0" cy="2444957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/>
          <p:cNvCxnSpPr/>
          <p:nvPr userDrawn="1"/>
        </p:nvCxnSpPr>
        <p:spPr>
          <a:xfrm>
            <a:off x="7016774" y="5680665"/>
            <a:ext cx="1386169" cy="1"/>
          </a:xfrm>
          <a:prstGeom prst="line">
            <a:avLst/>
          </a:prstGeom>
          <a:ln w="952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Marcador de texto 3"/>
          <p:cNvSpPr>
            <a:spLocks noGrp="1"/>
          </p:cNvSpPr>
          <p:nvPr>
            <p:ph type="body" sz="half" idx="14" hasCustomPrompt="1"/>
          </p:nvPr>
        </p:nvSpPr>
        <p:spPr>
          <a:xfrm>
            <a:off x="6892591" y="5692465"/>
            <a:ext cx="4091499" cy="291668"/>
          </a:xfrm>
        </p:spPr>
        <p:txBody>
          <a:bodyPr>
            <a:normAutofit/>
          </a:bodyPr>
          <a:lstStyle>
            <a:lvl1pPr marL="0" indent="0">
              <a:buNone/>
              <a:defRPr sz="10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* Haga clic para modificar el estilo de texto para asterisco</a:t>
            </a:r>
          </a:p>
        </p:txBody>
      </p:sp>
      <p:sp>
        <p:nvSpPr>
          <p:cNvPr id="51" name="Marcador de contenido 50"/>
          <p:cNvSpPr>
            <a:spLocks noGrp="1"/>
          </p:cNvSpPr>
          <p:nvPr>
            <p:ph sz="quarter" idx="15" hasCustomPrompt="1"/>
          </p:nvPr>
        </p:nvSpPr>
        <p:spPr>
          <a:xfrm>
            <a:off x="824086" y="4237962"/>
            <a:ext cx="3704167" cy="349956"/>
          </a:xfrm>
        </p:spPr>
        <p:txBody>
          <a:bodyPr/>
          <a:lstStyle>
            <a:lvl1pPr marL="0" indent="0">
              <a:buNone/>
              <a:defRPr sz="2133" b="1" i="0">
                <a:solidFill>
                  <a:schemeClr val="accent1"/>
                </a:solidFill>
              </a:defRPr>
            </a:lvl1pPr>
          </a:lstStyle>
          <a:p>
            <a:r>
              <a:rPr lang="es-ES_tradnl" sz="1600" b="1">
                <a:solidFill>
                  <a:schemeClr val="accent1"/>
                </a:solidFill>
              </a:rPr>
              <a:t>CLIC PARA EDITAR TEXTO</a:t>
            </a:r>
            <a:endParaRPr lang="es-ES" sz="1600" b="1">
              <a:solidFill>
                <a:schemeClr val="accent1"/>
              </a:solidFill>
            </a:endParaRPr>
          </a:p>
        </p:txBody>
      </p:sp>
      <p:sp>
        <p:nvSpPr>
          <p:cNvPr id="53" name="Marcador de contenido 50"/>
          <p:cNvSpPr>
            <a:spLocks noGrp="1"/>
          </p:cNvSpPr>
          <p:nvPr>
            <p:ph sz="quarter" idx="16" hasCustomPrompt="1"/>
          </p:nvPr>
        </p:nvSpPr>
        <p:spPr>
          <a:xfrm>
            <a:off x="6860826" y="4214449"/>
            <a:ext cx="3704167" cy="349956"/>
          </a:xfrm>
        </p:spPr>
        <p:txBody>
          <a:bodyPr/>
          <a:lstStyle>
            <a:lvl1pPr marL="0" indent="0">
              <a:buNone/>
              <a:defRPr sz="2133" b="1" i="0">
                <a:solidFill>
                  <a:schemeClr val="accent1"/>
                </a:solidFill>
              </a:defRPr>
            </a:lvl1pPr>
          </a:lstStyle>
          <a:p>
            <a:r>
              <a:rPr lang="es-ES_tradnl" sz="1600" b="1">
                <a:solidFill>
                  <a:schemeClr val="accent1"/>
                </a:solidFill>
              </a:rPr>
              <a:t>CLIC PARA EDITAR TEXTO</a:t>
            </a:r>
            <a:endParaRPr lang="es-ES" sz="1600" b="1">
              <a:solidFill>
                <a:schemeClr val="accent1"/>
              </a:solidFill>
            </a:endParaRPr>
          </a:p>
        </p:txBody>
      </p:sp>
      <p:sp>
        <p:nvSpPr>
          <p:cNvPr id="24" name="Marcador de texto 3"/>
          <p:cNvSpPr>
            <a:spLocks noGrp="1"/>
          </p:cNvSpPr>
          <p:nvPr>
            <p:ph type="body" sz="half" idx="17" hasCustomPrompt="1"/>
          </p:nvPr>
        </p:nvSpPr>
        <p:spPr>
          <a:xfrm>
            <a:off x="824086" y="4524793"/>
            <a:ext cx="4413959" cy="50632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subtítulo del patrón</a:t>
            </a:r>
          </a:p>
        </p:txBody>
      </p:sp>
      <p:sp>
        <p:nvSpPr>
          <p:cNvPr id="25" name="Marcador de texto 3"/>
          <p:cNvSpPr>
            <a:spLocks noGrp="1"/>
          </p:cNvSpPr>
          <p:nvPr>
            <p:ph type="body" sz="half" idx="18" hasCustomPrompt="1"/>
          </p:nvPr>
        </p:nvSpPr>
        <p:spPr>
          <a:xfrm>
            <a:off x="1027286" y="4727993"/>
            <a:ext cx="4413959" cy="50632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743187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658990"/>
            <a:ext cx="10363200" cy="1214965"/>
          </a:xfrm>
        </p:spPr>
        <p:txBody>
          <a:bodyPr anchor="t">
            <a:normAutofit/>
          </a:bodyPr>
          <a:lstStyle>
            <a:lvl1pPr algn="ctr">
              <a:defRPr sz="3467" b="1" cap="all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963084" y="61909"/>
            <a:ext cx="10363200" cy="1500187"/>
          </a:xfrm>
        </p:spPr>
        <p:txBody>
          <a:bodyPr anchor="b">
            <a:normAutofit/>
          </a:bodyPr>
          <a:lstStyle>
            <a:lvl1pPr marL="0" indent="0" algn="ctr">
              <a:buNone/>
              <a:defRPr sz="1867">
                <a:solidFill>
                  <a:srgbClr val="666666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9" name="Marcador de tabla 8"/>
          <p:cNvSpPr>
            <a:spLocks noGrp="1"/>
          </p:cNvSpPr>
          <p:nvPr>
            <p:ph type="tbl" sz="quarter" idx="12"/>
          </p:nvPr>
        </p:nvSpPr>
        <p:spPr>
          <a:xfrm>
            <a:off x="963084" y="1873954"/>
            <a:ext cx="10363200" cy="4007556"/>
          </a:xfrm>
          <a:ln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sz="1867"/>
            </a:lvl1pPr>
          </a:lstStyle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644805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</p:nvPr>
        </p:nvSpPr>
        <p:spPr>
          <a:xfrm>
            <a:off x="911424" y="836712"/>
            <a:ext cx="9505056" cy="288032"/>
          </a:xfrm>
        </p:spPr>
        <p:txBody>
          <a:bodyPr vert="horz" lIns="108000" tIns="0" rIns="10800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80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738330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34964" y="3"/>
            <a:ext cx="10588141" cy="8731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12700" y="12700"/>
            <a:ext cx="501766" cy="74982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pPr marL="0" indent="0">
              <a:buNone/>
            </a:pPr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216552371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30">
          <p15:clr>
            <a:srgbClr val="CCCCCC"/>
          </p15:clr>
        </p15:guide>
        <p15:guide id="2" pos="780">
          <p15:clr>
            <a:srgbClr val="CCCCCC"/>
          </p15:clr>
        </p15:guide>
        <p15:guide id="3" pos="1120">
          <p15:clr>
            <a:srgbClr val="CCCCCC"/>
          </p15:clr>
        </p15:guide>
        <p15:guide id="4" pos="1470">
          <p15:clr>
            <a:srgbClr val="CCCCCC"/>
          </p15:clr>
        </p15:guide>
        <p15:guide id="5" pos="1810">
          <p15:clr>
            <a:srgbClr val="CCCCCC"/>
          </p15:clr>
        </p15:guide>
        <p15:guide id="6" pos="2160">
          <p15:clr>
            <a:srgbClr val="CCCCCC"/>
          </p15:clr>
        </p15:guide>
        <p15:guide id="7" pos="2501">
          <p15:clr>
            <a:srgbClr val="CCCCCC"/>
          </p15:clr>
        </p15:guide>
        <p15:guide id="8" pos="2850">
          <p15:clr>
            <a:srgbClr val="CCCCCC"/>
          </p15:clr>
        </p15:guide>
        <p15:guide id="9" pos="3191">
          <p15:clr>
            <a:srgbClr val="CCCCCC"/>
          </p15:clr>
        </p15:guide>
        <p15:guide id="10" pos="3540">
          <p15:clr>
            <a:srgbClr val="CCCCCC"/>
          </p15:clr>
        </p15:guide>
        <p15:guide id="11" pos="3881">
          <p15:clr>
            <a:srgbClr val="CCCCCC"/>
          </p15:clr>
        </p15:guide>
        <p15:guide id="12" pos="4231">
          <p15:clr>
            <a:srgbClr val="CCCCCC"/>
          </p15:clr>
        </p15:guide>
        <p15:guide id="13" pos="4571">
          <p15:clr>
            <a:srgbClr val="CCCCCC"/>
          </p15:clr>
        </p15:guide>
        <p15:guide id="14" pos="4921">
          <p15:clr>
            <a:srgbClr val="CCCCCC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962371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Rectángulo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1587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CL" sz="3400" b="1" i="0" baseline="0">
              <a:solidFill>
                <a:prstClr val="white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0" y="6473404"/>
            <a:ext cx="864096" cy="36512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BFD2B46F-F271-4E54-AC6D-D37391FA1339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3663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34964" y="3"/>
            <a:ext cx="10588141" cy="873124"/>
          </a:xfrm>
        </p:spPr>
        <p:txBody>
          <a:bodyPr/>
          <a:lstStyle>
            <a:lvl1pPr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12700" y="12700"/>
            <a:ext cx="508720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914377"/>
            <a:r>
              <a:rPr lang="en-US" sz="133">
                <a:solidFill>
                  <a:srgbClr val="FFFFFF">
                    <a:alpha val="0"/>
                  </a:srgb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" panose="02000000000000000000" pitchFamily="2" charset="0"/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19575075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tfpLayoutConfig" hidden="1"/>
          <p:cNvSpPr txBox="1"/>
          <p:nvPr userDrawn="1">
            <p:custDataLst>
              <p:tags r:id="rId1"/>
            </p:custDataLst>
          </p:nvPr>
        </p:nvSpPr>
        <p:spPr bwMode="gray">
          <a:xfrm>
            <a:off x="12700" y="12700"/>
            <a:ext cx="508720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914377"/>
            <a:r>
              <a:rPr lang="en-US" sz="133">
                <a:solidFill>
                  <a:srgbClr val="FFFFFF">
                    <a:alpha val="0"/>
                  </a:srgb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" panose="02000000000000000000" pitchFamily="2" charset="0"/>
              </a:rPr>
              <a:t>overall_0_131835896762111249 columns_1_131835896762111249 </a:t>
            </a:r>
          </a:p>
        </p:txBody>
      </p:sp>
    </p:spTree>
    <p:extLst>
      <p:ext uri="{BB962C8B-B14F-4D97-AF65-F5344CB8AC3E}">
        <p14:creationId xmlns:p14="http://schemas.microsoft.com/office/powerpoint/2010/main" val="1015636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9359213"/>
              </p:ext>
            </p:extLst>
          </p:nvPr>
        </p:nvGraphicFramePr>
        <p:xfrm>
          <a:off x="2119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1587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CL" sz="2600" b="1" i="0" baseline="0">
              <a:solidFill>
                <a:prstClr val="white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592667" y="410804"/>
            <a:ext cx="10363200" cy="554401"/>
          </a:xfrm>
        </p:spPr>
        <p:txBody>
          <a:bodyPr vert="horz"/>
          <a:lstStyle/>
          <a:p>
            <a:r>
              <a:rPr lang="es-C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598307" y="941023"/>
            <a:ext cx="8534400" cy="516468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CL"/>
              <a:t>Haga clic para modificar el estilo de subtítulo del patrón</a:t>
            </a:r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609600" y="1600203"/>
            <a:ext cx="10972800" cy="4525963"/>
          </a:xfr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CL"/>
              <a:t>Haga clic para modificar el estilo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4236292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63352" y="836712"/>
            <a:ext cx="11665296" cy="288032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20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9469018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352" y="44624"/>
            <a:ext cx="11665296" cy="792088"/>
          </a:xfrm>
        </p:spPr>
        <p:txBody>
          <a:bodyPr/>
          <a:lstStyle>
            <a:lvl1pPr>
              <a:defRPr lang="es-CL"/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263352" y="1484784"/>
            <a:ext cx="11665296" cy="4968552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63352" y="836712"/>
            <a:ext cx="11665296" cy="288032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600"/>
              </a:spcBef>
              <a:buNone/>
              <a:defRPr lang="es-ES" sz="20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076120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7659514" y="2917217"/>
            <a:ext cx="4272844" cy="3011795"/>
          </a:xfrm>
        </p:spPr>
        <p:txBody>
          <a:bodyPr>
            <a:normAutofit/>
          </a:bodyPr>
          <a:lstStyle>
            <a:lvl1pPr marL="0" marR="0" indent="0" algn="l" defTabSz="6095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7270047" y="3076219"/>
            <a:ext cx="0" cy="2297293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7213603" y="3076217"/>
            <a:ext cx="112888" cy="1128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7213603" y="4205112"/>
            <a:ext cx="112888" cy="112888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7213603" y="4741337"/>
            <a:ext cx="112888" cy="11288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7213603" y="5317067"/>
            <a:ext cx="112888" cy="11288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7202312" y="3657599"/>
            <a:ext cx="112888" cy="11288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654759" y="1076181"/>
            <a:ext cx="9629420" cy="921952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6095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67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9330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inco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352" y="44625"/>
            <a:ext cx="11665296" cy="792088"/>
          </a:xfrm>
        </p:spPr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263352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2639616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263352" y="836712"/>
            <a:ext cx="11665296" cy="288032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20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/>
              <a:t>Haga clic para modificar los estilos de texto del patrón</a:t>
            </a:r>
          </a:p>
        </p:txBody>
      </p:sp>
      <p:sp>
        <p:nvSpPr>
          <p:cNvPr id="6" name="2 Marcador de contenido">
            <a:extLst>
              <a:ext uri="{FF2B5EF4-FFF2-40B4-BE49-F238E27FC236}">
                <a16:creationId xmlns:a16="http://schemas.microsoft.com/office/drawing/2014/main" id="{FAFD143C-E6FA-4B8F-BE63-B5A17846E9D4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5015880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7" name="3 Marcador de contenido">
            <a:extLst>
              <a:ext uri="{FF2B5EF4-FFF2-40B4-BE49-F238E27FC236}">
                <a16:creationId xmlns:a16="http://schemas.microsoft.com/office/drawing/2014/main" id="{D5E35F11-E222-4934-9556-4A440E4271F2}"/>
              </a:ext>
            </a:extLst>
          </p:cNvPr>
          <p:cNvSpPr>
            <a:spLocks noGrp="1"/>
          </p:cNvSpPr>
          <p:nvPr>
            <p:ph sz="half" idx="12" hasCustomPrompt="1"/>
            <p:custDataLst>
              <p:tags r:id="rId6"/>
            </p:custDataLst>
          </p:nvPr>
        </p:nvSpPr>
        <p:spPr>
          <a:xfrm>
            <a:off x="7392144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8" name="3 Marcador de contenido">
            <a:extLst>
              <a:ext uri="{FF2B5EF4-FFF2-40B4-BE49-F238E27FC236}">
                <a16:creationId xmlns:a16="http://schemas.microsoft.com/office/drawing/2014/main" id="{1DCDAF99-E5AD-4291-AD22-420E12696966}"/>
              </a:ext>
            </a:extLst>
          </p:cNvPr>
          <p:cNvSpPr>
            <a:spLocks noGrp="1"/>
          </p:cNvSpPr>
          <p:nvPr>
            <p:ph sz="half" idx="13" hasCustomPrompt="1"/>
            <p:custDataLst>
              <p:tags r:id="rId7"/>
            </p:custDataLst>
          </p:nvPr>
        </p:nvSpPr>
        <p:spPr>
          <a:xfrm>
            <a:off x="9768648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30371318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592667" y="410801"/>
            <a:ext cx="10363200" cy="5544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598307" y="941023"/>
            <a:ext cx="8534400" cy="516468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867">
                <a:solidFill>
                  <a:srgbClr val="666666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 sz="1067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8718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2493">
          <p15:clr>
            <a:srgbClr val="CCCCCC"/>
          </p15:clr>
        </p15:guide>
        <p15:guide id="3" pos="2833">
          <p15:clr>
            <a:srgbClr val="CCCCCC"/>
          </p15:clr>
        </p15:guide>
        <p15:guide id="4" pos="4910">
          <p15:clr>
            <a:srgbClr val="CCCCCC"/>
          </p15:clr>
        </p15:guide>
        <p15:guide id="5" pos="5251">
          <p15:clr>
            <a:srgbClr val="CCCCCC"/>
          </p15:clr>
        </p15:guide>
        <p15:guide id="6" pos="7328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97317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34964" y="3"/>
            <a:ext cx="10588141" cy="8731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12702" y="12700"/>
            <a:ext cx="519941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418131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576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7659513" y="2917217"/>
            <a:ext cx="4272844" cy="3011795"/>
          </a:xfrm>
        </p:spPr>
        <p:txBody>
          <a:bodyPr>
            <a:normAutofit/>
          </a:bodyPr>
          <a:lstStyle>
            <a:lvl1pPr marL="0" marR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7270047" y="3076218"/>
            <a:ext cx="0" cy="2297293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7213603" y="3076217"/>
            <a:ext cx="112888" cy="1128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7213603" y="4205112"/>
            <a:ext cx="112888" cy="112888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7213603" y="4741337"/>
            <a:ext cx="112888" cy="11288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7213603" y="5317067"/>
            <a:ext cx="112888" cy="11288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7202312" y="3657599"/>
            <a:ext cx="112888" cy="11288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654758" y="1076181"/>
            <a:ext cx="9629420" cy="921952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67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255351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592667" y="410800"/>
            <a:ext cx="10363200" cy="5544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598307" y="941023"/>
            <a:ext cx="8534400" cy="516468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867">
                <a:solidFill>
                  <a:srgbClr val="66666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 sz="1067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35202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7659513" y="2917217"/>
            <a:ext cx="4272844" cy="3011795"/>
          </a:xfrm>
        </p:spPr>
        <p:txBody>
          <a:bodyPr>
            <a:normAutofit/>
          </a:bodyPr>
          <a:lstStyle>
            <a:lvl1pPr marL="0" marR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7270047" y="3076218"/>
            <a:ext cx="0" cy="2297293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7213603" y="3076217"/>
            <a:ext cx="112888" cy="1128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7213603" y="4205112"/>
            <a:ext cx="112888" cy="112888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7213603" y="4741337"/>
            <a:ext cx="112888" cy="11288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7213603" y="5317067"/>
            <a:ext cx="112888" cy="11288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7202312" y="3657599"/>
            <a:ext cx="112888" cy="11288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654758" y="1076181"/>
            <a:ext cx="9629420" cy="921952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67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717374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>
            <a:extLst>
              <a:ext uri="{FF2B5EF4-FFF2-40B4-BE49-F238E27FC236}">
                <a16:creationId xmlns:a16="http://schemas.microsoft.com/office/drawing/2014/main" id="{8C9D2824-F968-964F-AAED-C944B23F3C27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40729" y="6602556"/>
            <a:ext cx="797649" cy="152109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54757" y="274639"/>
            <a:ext cx="10972800" cy="82038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9" name="Marcador de número de diapositiva 8"/>
          <p:cNvSpPr txBox="1">
            <a:spLocks/>
          </p:cNvSpPr>
          <p:nvPr userDrawn="1"/>
        </p:nvSpPr>
        <p:spPr>
          <a:xfrm>
            <a:off x="11631633" y="6541136"/>
            <a:ext cx="635711" cy="365125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D9AF7E7-3000-F84C-93A4-A5BF1C96F66B}" type="slidenum">
              <a:rPr lang="es-ES" sz="1067" smtClean="0">
                <a:solidFill>
                  <a:srgbClr val="E55302"/>
                </a:solidFill>
              </a:rPr>
              <a:pPr algn="ctr"/>
              <a:t>‹Nº›</a:t>
            </a:fld>
            <a:endParaRPr lang="es-ES" sz="1067" dirty="0">
              <a:solidFill>
                <a:srgbClr val="E55302"/>
              </a:solidFill>
            </a:endParaRPr>
          </a:p>
        </p:txBody>
      </p:sp>
      <p:sp>
        <p:nvSpPr>
          <p:cNvPr id="12" name="Rectángulo 11"/>
          <p:cNvSpPr/>
          <p:nvPr userDrawn="1"/>
        </p:nvSpPr>
        <p:spPr>
          <a:xfrm>
            <a:off x="849062" y="6520742"/>
            <a:ext cx="4520885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200" b="0" i="0" spc="6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I  </a:t>
            </a:r>
            <a:r>
              <a:rPr lang="es-CL" sz="1333" b="0" i="0" spc="0" baseline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rección de Estudios, Vulnerabilidades y Emergencias   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47B733D0-78CC-2846-A6A1-BF321913F8A6}"/>
              </a:ext>
            </a:extLst>
          </p:cNvPr>
          <p:cNvSpPr/>
          <p:nvPr userDrawn="1"/>
        </p:nvSpPr>
        <p:spPr>
          <a:xfrm>
            <a:off x="7206115" y="6546414"/>
            <a:ext cx="4697248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431989">
              <a:defRPr/>
            </a:pPr>
            <a:r>
              <a:rPr lang="es-ES" sz="933" spc="67" dirty="0">
                <a:solidFill>
                  <a:prstClr val="white">
                    <a:lumMod val="50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 </a:t>
            </a:r>
            <a:r>
              <a:rPr lang="es-ES" sz="1067" spc="0" baseline="0" dirty="0">
                <a:solidFill>
                  <a:prstClr val="white">
                    <a:lumMod val="50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delco Chile. Todos los derechos reservados.           Información Uso General </a:t>
            </a:r>
            <a:r>
              <a:rPr lang="es-ES" sz="1067" spc="0" baseline="0" dirty="0">
                <a:solidFill>
                  <a:srgbClr val="E5530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|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03ED5E58-1D76-0840-A88D-91E6D22BA4C0}"/>
              </a:ext>
            </a:extLst>
          </p:cNvPr>
          <p:cNvSpPr/>
          <p:nvPr userDrawn="1"/>
        </p:nvSpPr>
        <p:spPr>
          <a:xfrm>
            <a:off x="10047351" y="6549606"/>
            <a:ext cx="220205" cy="220205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0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2CB4A8E4-2B03-4645-977E-9AD9B0102620}"/>
              </a:ext>
            </a:extLst>
          </p:cNvPr>
          <p:cNvSpPr/>
          <p:nvPr userDrawn="1"/>
        </p:nvSpPr>
        <p:spPr>
          <a:xfrm>
            <a:off x="9958125" y="6523535"/>
            <a:ext cx="33861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067" b="1" i="0" spc="-31" baseline="0">
                <a:solidFill>
                  <a:schemeClr val="bg1">
                    <a:lumMod val="75000"/>
                  </a:schemeClr>
                </a:solidFill>
                <a:latin typeface="Roboto Condensed" pitchFamily="2" charset="0"/>
                <a:ea typeface="Roboto Condensed" pitchFamily="2" charset="0"/>
                <a:cs typeface="Calibri"/>
                <a:sym typeface="Calibri"/>
              </a:rPr>
              <a:t>AG</a:t>
            </a:r>
            <a:endParaRPr lang="es-CL" sz="1067" b="1" i="0" spc="-31" baseline="0">
              <a:solidFill>
                <a:schemeClr val="bg1">
                  <a:lumMod val="75000"/>
                </a:schemeClr>
              </a:solidFill>
              <a:latin typeface="Roboto Condensed" pitchFamily="2" charset="0"/>
              <a:ea typeface="Roboto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853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</p:sldLayoutIdLst>
  <p:hf hdr="0" dt="0"/>
  <p:txStyles>
    <p:titleStyle>
      <a:lvl1pPr algn="l" defTabSz="609570" rtl="0" eaLnBrk="1" latinLnBrk="0" hangingPunct="1">
        <a:spcBef>
          <a:spcPct val="0"/>
        </a:spcBef>
        <a:buNone/>
        <a:defRPr sz="3467" b="1" kern="1200" cap="all">
          <a:solidFill>
            <a:srgbClr val="666666"/>
          </a:solidFill>
          <a:latin typeface="+mj-lt"/>
          <a:ea typeface="+mj-ea"/>
          <a:cs typeface="+mj-cs"/>
        </a:defRPr>
      </a:lvl1pPr>
    </p:titleStyle>
    <p:bodyStyle>
      <a:lvl1pPr marL="457178" indent="-457178" algn="l" defTabSz="609570" rtl="0" eaLnBrk="1" latinLnBrk="0" hangingPunct="1">
        <a:spcBef>
          <a:spcPct val="20000"/>
        </a:spcBef>
        <a:buFont typeface="Arial"/>
        <a:buChar char="•"/>
        <a:defRPr sz="2133" kern="1200">
          <a:solidFill>
            <a:srgbClr val="666666"/>
          </a:solidFill>
          <a:latin typeface="+mn-lt"/>
          <a:ea typeface="+mn-ea"/>
          <a:cs typeface="+mn-cs"/>
        </a:defRPr>
      </a:lvl1pPr>
      <a:lvl2pPr marL="990550" indent="-380981" algn="l" defTabSz="609570" rtl="0" eaLnBrk="1" latinLnBrk="0" hangingPunct="1">
        <a:spcBef>
          <a:spcPct val="20000"/>
        </a:spcBef>
        <a:buFont typeface="Arial"/>
        <a:buChar char="–"/>
        <a:defRPr sz="1867" kern="1200">
          <a:solidFill>
            <a:srgbClr val="666666"/>
          </a:solidFill>
          <a:latin typeface="+mn-lt"/>
          <a:ea typeface="+mn-ea"/>
          <a:cs typeface="+mn-cs"/>
        </a:defRPr>
      </a:lvl2pPr>
      <a:lvl3pPr marL="1523925" indent="-304784" algn="l" defTabSz="609570" rtl="0" eaLnBrk="1" latinLnBrk="0" hangingPunct="1">
        <a:spcBef>
          <a:spcPct val="20000"/>
        </a:spcBef>
        <a:buFont typeface="Arial"/>
        <a:buChar char="•"/>
        <a:defRPr sz="1600" kern="1200">
          <a:solidFill>
            <a:srgbClr val="666666"/>
          </a:solidFill>
          <a:latin typeface="+mn-lt"/>
          <a:ea typeface="+mn-ea"/>
          <a:cs typeface="+mn-cs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1333" kern="1200">
          <a:solidFill>
            <a:srgbClr val="666666"/>
          </a:solidFill>
          <a:latin typeface="+mn-lt"/>
          <a:ea typeface="+mn-ea"/>
          <a:cs typeface="+mn-cs"/>
        </a:defRPr>
      </a:lvl4pPr>
      <a:lvl5pPr marL="2743062" indent="-304784" algn="l" defTabSz="609570" rtl="0" eaLnBrk="1" latinLnBrk="0" hangingPunct="1">
        <a:spcBef>
          <a:spcPct val="20000"/>
        </a:spcBef>
        <a:buFont typeface="Arial"/>
        <a:buChar char="»"/>
        <a:defRPr sz="1067" kern="1200">
          <a:solidFill>
            <a:srgbClr val="666666"/>
          </a:solidFill>
          <a:latin typeface="+mn-lt"/>
          <a:ea typeface="+mn-ea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0">
          <p15:clr>
            <a:srgbClr val="F26B43"/>
          </p15:clr>
        </p15:guide>
        <p15:guide id="2" orient="horz" pos="712">
          <p15:clr>
            <a:srgbClr val="F26B43"/>
          </p15:clr>
        </p15:guide>
        <p15:guide id="3" orient="horz" pos="4097">
          <p15:clr>
            <a:srgbClr val="F26B43"/>
          </p15:clr>
        </p15:guide>
        <p15:guide id="4" pos="412">
          <p15:clr>
            <a:srgbClr val="F26B43"/>
          </p15:clr>
        </p15:guide>
        <p15:guide id="5" pos="73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248168-064B-ECC5-AB63-0A5541231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EE2F33-097E-758F-C005-437925CD430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31760"/>
          <a:stretch>
            <a:fillRect/>
          </a:stretch>
        </p:blipFill>
        <p:spPr>
          <a:xfrm rot="16200000" flipH="1">
            <a:off x="7706365" y="2652805"/>
            <a:ext cx="6604001" cy="129839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A5EC490-AF6A-7C04-56A8-B6D3FC25D6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0936" y="153518"/>
            <a:ext cx="918035" cy="589356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24EFF8B3-ECCE-53C0-58BA-13D1236B1BF4}"/>
              </a:ext>
            </a:extLst>
          </p:cNvPr>
          <p:cNvSpPr/>
          <p:nvPr/>
        </p:nvSpPr>
        <p:spPr>
          <a:xfrm>
            <a:off x="1017043" y="260178"/>
            <a:ext cx="8829040" cy="451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lnSpc>
                <a:spcPts val="2800"/>
              </a:lnSpc>
            </a:pPr>
            <a:r>
              <a:rPr lang="es-CL" sz="2667" spc="67" dirty="0">
                <a:solidFill>
                  <a:schemeClr val="accent6"/>
                </a:solidFill>
                <a:ea typeface="Roboto Condensed" pitchFamily="2" charset="0"/>
                <a:cs typeface="Arial"/>
              </a:rPr>
              <a:t>PRONÓSTICO METEOROLÓGICO POR DIVISIÓN</a:t>
            </a:r>
          </a:p>
        </p:txBody>
      </p:sp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774613D6-F9BA-3E32-6AE3-0FCCB3D5AF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126973"/>
              </p:ext>
            </p:extLst>
          </p:nvPr>
        </p:nvGraphicFramePr>
        <p:xfrm>
          <a:off x="534434" y="901077"/>
          <a:ext cx="9794244" cy="1008483"/>
        </p:xfrm>
        <a:graphic>
          <a:graphicData uri="http://schemas.openxmlformats.org/drawingml/2006/table">
            <a:tbl>
              <a:tblPr firstRow="1" firstCol="1" bandRow="1"/>
              <a:tblGrid>
                <a:gridCol w="3718560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893887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2048196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2133601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273664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CHUQUICAMATA </a:t>
                      </a:r>
                      <a:r>
                        <a:rPr lang="es-ES" sz="1500" b="1" kern="1200" noProof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(2.700 m.s.n.m.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Jueves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rnes 2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ábado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6815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7 / 2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7 /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6 /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  <a:tr h="227839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nto horario máx. (km/h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5 - 3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5 - 3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5 - 3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515922"/>
                  </a:ext>
                </a:extLst>
              </a:tr>
            </a:tbl>
          </a:graphicData>
        </a:graphic>
      </p:graphicFrame>
      <p:graphicFrame>
        <p:nvGraphicFramePr>
          <p:cNvPr id="13" name="Tabla 12">
            <a:extLst>
              <a:ext uri="{FF2B5EF4-FFF2-40B4-BE49-F238E27FC236}">
                <a16:creationId xmlns:a16="http://schemas.microsoft.com/office/drawing/2014/main" id="{BCE2E444-A7CF-F7ED-2453-5DC5483890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7719865"/>
              </p:ext>
            </p:extLst>
          </p:nvPr>
        </p:nvGraphicFramePr>
        <p:xfrm>
          <a:off x="534439" y="3047447"/>
          <a:ext cx="9794239" cy="1020232"/>
        </p:xfrm>
        <a:graphic>
          <a:graphicData uri="http://schemas.openxmlformats.org/drawingml/2006/table">
            <a:tbl>
              <a:tblPr firstRow="1" firstCol="1" bandRow="1"/>
              <a:tblGrid>
                <a:gridCol w="3718559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893885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2048195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28541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kern="1200" noProof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DIVISIÓN EL SALVADOR (2.500 m.s.n.m.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Jueves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rnes 2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ábado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6815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2 / 2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2 /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2 /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  <a:tr h="227839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nto horario máx. (km/h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0 - 2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-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0 - 2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515922"/>
                  </a:ext>
                </a:extLst>
              </a:tr>
            </a:tbl>
          </a:graphicData>
        </a:graphic>
      </p:graphicFrame>
      <p:graphicFrame>
        <p:nvGraphicFramePr>
          <p:cNvPr id="14" name="Tabla 13">
            <a:extLst>
              <a:ext uri="{FF2B5EF4-FFF2-40B4-BE49-F238E27FC236}">
                <a16:creationId xmlns:a16="http://schemas.microsoft.com/office/drawing/2014/main" id="{C823AC87-1018-9BA5-3C78-7093F2BDBC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603066"/>
              </p:ext>
            </p:extLst>
          </p:nvPr>
        </p:nvGraphicFramePr>
        <p:xfrm>
          <a:off x="534439" y="4134770"/>
          <a:ext cx="9794239" cy="967864"/>
        </p:xfrm>
        <a:graphic>
          <a:graphicData uri="http://schemas.openxmlformats.org/drawingml/2006/table">
            <a:tbl>
              <a:tblPr firstRow="1" firstCol="1" bandRow="1"/>
              <a:tblGrid>
                <a:gridCol w="3718559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893885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2048195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227839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kern="1200" noProof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DIVISIÓN VENTANAS (0.0 m.s.n.m.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Jueves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rnes 2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ábado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6815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3 / 1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2 / 1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2 / 1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nto horario máx. (km/h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-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-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5 - 3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515922"/>
                  </a:ext>
                </a:extLst>
              </a:tr>
            </a:tbl>
          </a:graphicData>
        </a:graphic>
      </p:graphicFrame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10C886D5-9CDA-5EAE-2D4A-37342C1735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5568000"/>
              </p:ext>
            </p:extLst>
          </p:nvPr>
        </p:nvGraphicFramePr>
        <p:xfrm>
          <a:off x="534439" y="5177754"/>
          <a:ext cx="9794239" cy="967864"/>
        </p:xfrm>
        <a:graphic>
          <a:graphicData uri="http://schemas.openxmlformats.org/drawingml/2006/table">
            <a:tbl>
              <a:tblPr firstRow="1" firstCol="1" bandRow="1"/>
              <a:tblGrid>
                <a:gridCol w="3718559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893885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2048195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23023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kern="1200" noProof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DIVISIÓN EL TENIENTE (2.800 m.s.n.m.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Jueves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rnes 2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ábado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6815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  <a:endParaRPr lang="es-CL" sz="1500" kern="1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Abadi ExtraLight" panose="020F0502020204030204" pitchFamily="34" charset="0"/>
                        <a:ea typeface="+mn-ea"/>
                        <a:cs typeface="Calibri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 / 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 / 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0 / 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nto horario máx. (km/h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0 - 2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0 - 2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0 - 2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515922"/>
                  </a:ext>
                </a:extLst>
              </a:tr>
            </a:tbl>
          </a:graphicData>
        </a:graphic>
      </p:graphicFrame>
      <p:sp>
        <p:nvSpPr>
          <p:cNvPr id="16" name="CuadroTexto 15">
            <a:extLst>
              <a:ext uri="{FF2B5EF4-FFF2-40B4-BE49-F238E27FC236}">
                <a16:creationId xmlns:a16="http://schemas.microsoft.com/office/drawing/2014/main" id="{A891FEDF-EA86-22E6-F573-2B33A46D8566}"/>
              </a:ext>
            </a:extLst>
          </p:cNvPr>
          <p:cNvSpPr txBox="1"/>
          <p:nvPr/>
        </p:nvSpPr>
        <p:spPr>
          <a:xfrm>
            <a:off x="476250" y="6245906"/>
            <a:ext cx="9680623" cy="2596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s-CL" sz="1067" dirty="0">
                <a:solidFill>
                  <a:srgbClr val="A5A5A5">
                    <a:lumMod val="50000"/>
                  </a:srgbClr>
                </a:solidFill>
                <a:latin typeface="Abadi ExtraLight" panose="020B02040201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 m.s.n.m. = metros sobre el nivel del mar. * S/P= Sin precipitaciones. * Trazas=Precipitación débil, generalmente intermitente y sin acumulación. * TE = tormenta eléctrica.</a:t>
            </a:r>
          </a:p>
        </p:txBody>
      </p:sp>
      <p:graphicFrame>
        <p:nvGraphicFramePr>
          <p:cNvPr id="17" name="Tabla 16">
            <a:extLst>
              <a:ext uri="{FF2B5EF4-FFF2-40B4-BE49-F238E27FC236}">
                <a16:creationId xmlns:a16="http://schemas.microsoft.com/office/drawing/2014/main" id="{7E6853F4-EE0D-9FE5-86A6-B86BCB25F6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859958"/>
              </p:ext>
            </p:extLst>
          </p:nvPr>
        </p:nvGraphicFramePr>
        <p:xfrm>
          <a:off x="534434" y="1969848"/>
          <a:ext cx="9794244" cy="1023369"/>
        </p:xfrm>
        <a:graphic>
          <a:graphicData uri="http://schemas.openxmlformats.org/drawingml/2006/table">
            <a:tbl>
              <a:tblPr firstRow="1" firstCol="1" bandRow="1"/>
              <a:tblGrid>
                <a:gridCol w="3718560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893887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2048196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2133601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28855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RADOMIRO TOMIC </a:t>
                      </a:r>
                      <a:r>
                        <a:rPr lang="es-ES" sz="1500" b="1" kern="1200" noProof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(2.900 m.s.n.m.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Jueves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rnes 2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ábado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6815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00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6 / 1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7 / 1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7 / 2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  <a:tr h="227839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nto horario máx. (km/h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0 - 3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-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-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5159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0040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7248168-064B-ECC5-AB63-0A5541231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B3069586-4ECB-67F4-0A1E-37E90336D4C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267" b="17802"/>
          <a:stretch>
            <a:fillRect/>
          </a:stretch>
        </p:blipFill>
        <p:spPr>
          <a:xfrm>
            <a:off x="0" y="0"/>
            <a:ext cx="12195432" cy="6498601"/>
          </a:xfrm>
          <a:prstGeom prst="rect">
            <a:avLst/>
          </a:prstGeom>
        </p:spPr>
      </p:pic>
      <p:sp>
        <p:nvSpPr>
          <p:cNvPr id="6" name="Título 2">
            <a:extLst>
              <a:ext uri="{FF2B5EF4-FFF2-40B4-BE49-F238E27FC236}">
                <a16:creationId xmlns:a16="http://schemas.microsoft.com/office/drawing/2014/main" id="{1E31B380-8197-52FB-EC4E-FF3587FAC110}"/>
              </a:ext>
            </a:extLst>
          </p:cNvPr>
          <p:cNvSpPr txBox="1">
            <a:spLocks/>
          </p:cNvSpPr>
          <p:nvPr/>
        </p:nvSpPr>
        <p:spPr>
          <a:xfrm>
            <a:off x="616292" y="423603"/>
            <a:ext cx="11119708" cy="9197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ts val="3333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1" i="0" u="none" strike="noStrike" kern="1200" cap="none" spc="67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badi ExtraLight" panose="020B0204020104020204" pitchFamily="34" charset="0"/>
              </a:rPr>
              <a:t>Alerta División </a:t>
            </a:r>
            <a:r>
              <a:rPr lang="es-MX" sz="3600" b="1" spc="67" dirty="0">
                <a:solidFill>
                  <a:sysClr val="window" lastClr="FFFFFF"/>
                </a:solidFill>
                <a:latin typeface="Abadi ExtraLight" panose="020B0204020104020204" pitchFamily="34" charset="0"/>
              </a:rPr>
              <a:t>El Salvador</a:t>
            </a:r>
            <a:r>
              <a:rPr kumimoji="0" lang="es-MX" sz="3600" b="1" i="0" u="none" strike="noStrike" kern="1200" cap="none" spc="67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badi ExtraLight" panose="020B0204020104020204" pitchFamily="34" charset="0"/>
              </a:rPr>
              <a:t> </a:t>
            </a:r>
            <a:br>
              <a:rPr kumimoji="0" lang="es-MX" sz="3600" b="1" i="0" u="none" strike="noStrike" kern="1200" cap="none" spc="67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badi ExtraLight" panose="020B0204020104020204" pitchFamily="34" charset="0"/>
              </a:rPr>
            </a:br>
            <a:r>
              <a:rPr kumimoji="0" lang="es-ES" sz="2800" b="0" i="0" u="none" strike="noStrike" kern="1200" cap="none" spc="67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badi ExtraLight" panose="020B0204020104020204" pitchFamily="34" charset="0"/>
              </a:rPr>
              <a:t>Inestabilidad atmosférica en cordillera y precordillera</a:t>
            </a:r>
            <a:br>
              <a:rPr kumimoji="0" lang="es-MX" sz="2800" b="0" i="0" u="none" strike="noStrike" kern="1200" cap="none" spc="67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endParaRPr kumimoji="0" lang="es-CL" sz="28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5828106-D0BD-E5E4-A304-75F611ADFE48}"/>
              </a:ext>
            </a:extLst>
          </p:cNvPr>
          <p:cNvSpPr txBox="1"/>
          <p:nvPr/>
        </p:nvSpPr>
        <p:spPr>
          <a:xfrm>
            <a:off x="882502" y="1294052"/>
            <a:ext cx="9813851" cy="148258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2pPr marL="0" lvl="1" defTabSz="685718">
              <a:lnSpc>
                <a:spcPts val="1500"/>
              </a:lnSpc>
              <a:spcAft>
                <a:spcPts val="600"/>
              </a:spcAft>
              <a:defRPr sz="1400" b="1">
                <a:solidFill>
                  <a:schemeClr val="bg1"/>
                </a:solidFill>
                <a:ea typeface="Roboto Condensed" pitchFamily="2" charset="0"/>
                <a:cs typeface="Calibri Light" panose="020F0302020204030204" pitchFamily="34" charset="0"/>
              </a:defRPr>
            </a:lvl2pPr>
          </a:lstStyle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prstClr val="white"/>
                </a:solidFill>
                <a:latin typeface="Abadi ExtraLight" panose="020B0204020104020204" pitchFamily="34" charset="0"/>
              </a:rPr>
              <a:t>Vigencia de la alerta: fin de Lunes 13 a mañana de Martes 14 de Abril. 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prstClr val="white"/>
                </a:solidFill>
                <a:latin typeface="Abadi ExtraLight" panose="020B0204020104020204" pitchFamily="34" charset="0"/>
              </a:rPr>
              <a:t>Región de Atacama será afectada por Baja Segregada.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prstClr val="white"/>
                </a:solidFill>
                <a:latin typeface="Abadi ExtraLight" panose="020B0204020104020204" pitchFamily="34" charset="0"/>
              </a:rPr>
              <a:t>Desde las </a:t>
            </a:r>
            <a:r>
              <a:rPr lang="es-CL" sz="1600">
                <a:solidFill>
                  <a:prstClr val="white"/>
                </a:solidFill>
                <a:latin typeface="Abadi ExtraLight" panose="020B0204020104020204" pitchFamily="34" charset="0"/>
              </a:rPr>
              <a:t>22:00 </a:t>
            </a:r>
            <a:r>
              <a:rPr lang="es-CL" sz="1600" dirty="0">
                <a:solidFill>
                  <a:prstClr val="white"/>
                </a:solidFill>
                <a:latin typeface="Abadi ExtraLight" panose="020B0204020104020204" pitchFamily="34" charset="0"/>
              </a:rPr>
              <a:t>- 09:00 h, precipitaciones y probable </a:t>
            </a:r>
            <a:r>
              <a:rPr lang="es-ES" sz="1600" dirty="0">
                <a:solidFill>
                  <a:prstClr val="white"/>
                </a:solidFill>
                <a:latin typeface="Abadi ExtraLight" panose="020B0204020104020204" pitchFamily="34" charset="0"/>
              </a:rPr>
              <a:t>actividad eléctrica alcanzará sector El Salvador y alrededores, activarán quebradas en los márgenes de la zona (principalmente cordillera) produciendo escurrimientos superficiales y arrastre de sedimentos. </a:t>
            </a:r>
          </a:p>
          <a:p>
            <a:pPr lvl="1" algn="just"/>
            <a:endParaRPr lang="es-ES" sz="1600" dirty="0">
              <a:solidFill>
                <a:prstClr val="white"/>
              </a:solidFill>
              <a:latin typeface="Abadi ExtraLight" panose="020B0204020104020204" pitchFamily="34" charset="0"/>
            </a:endParaRPr>
          </a:p>
        </p:txBody>
      </p:sp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B02CCAE2-1E86-BBE8-F574-101E94AA1A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8878478"/>
              </p:ext>
            </p:extLst>
          </p:nvPr>
        </p:nvGraphicFramePr>
        <p:xfrm>
          <a:off x="3989929" y="2815450"/>
          <a:ext cx="2425087" cy="1370779"/>
        </p:xfrm>
        <a:graphic>
          <a:graphicData uri="http://schemas.openxmlformats.org/drawingml/2006/table">
            <a:tbl>
              <a:tblPr firstRow="1" bandRow="1"/>
              <a:tblGrid>
                <a:gridCol w="1185372">
                  <a:extLst>
                    <a:ext uri="{9D8B030D-6E8A-4147-A177-3AD203B41FA5}">
                      <a16:colId xmlns:a16="http://schemas.microsoft.com/office/drawing/2014/main" val="882167479"/>
                    </a:ext>
                  </a:extLst>
                </a:gridCol>
                <a:gridCol w="1239715">
                  <a:extLst>
                    <a:ext uri="{9D8B030D-6E8A-4147-A177-3AD203B41FA5}">
                      <a16:colId xmlns:a16="http://schemas.microsoft.com/office/drawing/2014/main" val="648138268"/>
                    </a:ext>
                  </a:extLst>
                </a:gridCol>
              </a:tblGrid>
              <a:tr h="38779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10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Sector</a:t>
                      </a:r>
                    </a:p>
                  </a:txBody>
                  <a:tcPr marL="121920" marR="121920" marT="60960" marB="60960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Martes 14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128718"/>
                  </a:ext>
                </a:extLst>
              </a:tr>
              <a:tr h="525194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10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El Salvador</a:t>
                      </a:r>
                    </a:p>
                  </a:txBody>
                  <a:tcPr marL="121920" marR="121920" marT="60960" marB="60960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 8 - 15 mm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083197"/>
                  </a:ext>
                </a:extLst>
              </a:tr>
              <a:tr h="457792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Potrerillos</a:t>
                      </a:r>
                    </a:p>
                  </a:txBody>
                  <a:tcPr marL="121920" marR="121920" marT="60960" marB="60960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8 </a:t>
                      </a:r>
                      <a:r>
                        <a:rPr lang="es-CL" sz="110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- 1</a:t>
                      </a:r>
                      <a:r>
                        <a:rPr lang="es-CL" sz="11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5</a:t>
                      </a:r>
                      <a:r>
                        <a:rPr lang="es-CL" sz="110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 </a:t>
                      </a:r>
                      <a:r>
                        <a:rPr lang="es-CL" sz="11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mm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4570887"/>
                  </a:ext>
                </a:extLst>
              </a:tr>
            </a:tbl>
          </a:graphicData>
        </a:graphic>
      </p:graphicFrame>
      <p:sp>
        <p:nvSpPr>
          <p:cNvPr id="11" name="CuadroTexto 10">
            <a:extLst>
              <a:ext uri="{FF2B5EF4-FFF2-40B4-BE49-F238E27FC236}">
                <a16:creationId xmlns:a16="http://schemas.microsoft.com/office/drawing/2014/main" id="{D8820029-46D1-BB93-0696-9EAA1D21722B}"/>
              </a:ext>
            </a:extLst>
          </p:cNvPr>
          <p:cNvSpPr txBox="1"/>
          <p:nvPr/>
        </p:nvSpPr>
        <p:spPr>
          <a:xfrm>
            <a:off x="224540" y="5074054"/>
            <a:ext cx="11014552" cy="54598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2pPr marL="0" lvl="1" defTabSz="685718">
              <a:lnSpc>
                <a:spcPts val="1500"/>
              </a:lnSpc>
              <a:spcAft>
                <a:spcPts val="600"/>
              </a:spcAft>
              <a:defRPr sz="1400" b="1">
                <a:solidFill>
                  <a:schemeClr val="bg1"/>
                </a:solidFill>
                <a:ea typeface="Roboto Condensed" pitchFamily="2" charset="0"/>
                <a:cs typeface="Calibri Light" panose="020F0302020204030204" pitchFamily="34" charset="0"/>
              </a:defRPr>
            </a:lvl2pPr>
          </a:lstStyle>
          <a:p>
            <a:pPr lvl="1" algn="ctr"/>
            <a:r>
              <a:rPr lang="es-ES" sz="1200" b="0" dirty="0">
                <a:solidFill>
                  <a:prstClr val="white"/>
                </a:solidFill>
                <a:latin typeface="Abadi ExtraLight" panose="020B0204020104020204" pitchFamily="34" charset="0"/>
              </a:rPr>
              <a:t>*S/P = Sin Precipitaciones / TE = Tormenta Eléctrica / trazas de precipitación son cantidades de lluvia, nieve o llovizna registradas menores a 0,5mm </a:t>
            </a:r>
          </a:p>
          <a:p>
            <a:pPr lvl="1" algn="ctr"/>
            <a:r>
              <a:rPr lang="es-ES" sz="1200" b="0" dirty="0">
                <a:solidFill>
                  <a:prstClr val="white"/>
                </a:solidFill>
                <a:latin typeface="Abadi ExtraLight" panose="020B0204020104020204" pitchFamily="34" charset="0"/>
              </a:rPr>
              <a:t>La evolución de la alerta será actualizada de forma diaria </a:t>
            </a:r>
          </a:p>
        </p:txBody>
      </p:sp>
    </p:spTree>
    <p:extLst>
      <p:ext uri="{BB962C8B-B14F-4D97-AF65-F5344CB8AC3E}">
        <p14:creationId xmlns:p14="http://schemas.microsoft.com/office/powerpoint/2010/main" val="940156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6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64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HGRT9FSMyesjnVX90s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3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4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4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1f68wAhobpp0.wKLCnjQ"/>
</p:tagLst>
</file>

<file path=ppt/theme/theme1.xml><?xml version="1.0" encoding="utf-8"?>
<a:theme xmlns:a="http://schemas.openxmlformats.org/drawingml/2006/main" name="3_Tema de Office">
  <a:themeElements>
    <a:clrScheme name="Personalizar 5">
      <a:dk1>
        <a:srgbClr val="0072B1"/>
      </a:dk1>
      <a:lt1>
        <a:sysClr val="window" lastClr="FFFFFF"/>
      </a:lt1>
      <a:dk2>
        <a:srgbClr val="106470"/>
      </a:dk2>
      <a:lt2>
        <a:srgbClr val="C4C1A0"/>
      </a:lt2>
      <a:accent1>
        <a:srgbClr val="0098AA"/>
      </a:accent1>
      <a:accent2>
        <a:srgbClr val="7A2531"/>
      </a:accent2>
      <a:accent3>
        <a:srgbClr val="36424A"/>
      </a:accent3>
      <a:accent4>
        <a:srgbClr val="C13832"/>
      </a:accent4>
      <a:accent5>
        <a:srgbClr val="F4AA00"/>
      </a:accent5>
      <a:accent6>
        <a:srgbClr val="E55302"/>
      </a:accent6>
      <a:hlink>
        <a:srgbClr val="0098AA"/>
      </a:hlink>
      <a:folHlink>
        <a:srgbClr val="E553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746</TotalTime>
  <Words>525</Words>
  <Application>Microsoft Office PowerPoint</Application>
  <PresentationFormat>Panorámica</PresentationFormat>
  <Paragraphs>96</Paragraphs>
  <Slides>2</Slides>
  <Notes>2</Notes>
  <HiddenSlides>1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9" baseType="lpstr">
      <vt:lpstr>Abadi ExtraLight</vt:lpstr>
      <vt:lpstr>Arial</vt:lpstr>
      <vt:lpstr>Calibri</vt:lpstr>
      <vt:lpstr>Calibri Light</vt:lpstr>
      <vt:lpstr>Roboto Condensed</vt:lpstr>
      <vt:lpstr>3_Tema de Office</vt:lpstr>
      <vt:lpstr>Diapositiva de think-cell</vt:lpstr>
      <vt:lpstr>Presentación de PowerPoint</vt:lpstr>
      <vt:lpstr>Presentación de PowerPoint</vt:lpstr>
    </vt:vector>
  </TitlesOfParts>
  <Company>CODEL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nóstico Divisiones</dc:title>
  <dc:creator>Vergara Ureta Enrique (Codelco-Andina)</dc:creator>
  <cp:lastModifiedBy>Cueto Vega Esteban Américo (Codelco-Andina)</cp:lastModifiedBy>
  <cp:revision>221</cp:revision>
  <dcterms:created xsi:type="dcterms:W3CDTF">2026-02-13T13:30:04Z</dcterms:created>
  <dcterms:modified xsi:type="dcterms:W3CDTF">2026-04-22T14:34:39Z</dcterms:modified>
</cp:coreProperties>
</file>